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0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0CC06B-2A88-A0C3-3883-3FE695D097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42F1844-8612-EA1F-CFE0-91435CF74B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F1844-8612-EA1F-CFE0-91435CF74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13C946-6D0D-3665-780D-EE16ED1D0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1721F3E-B771-3C55-E2DD-02CBF2C7E8B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9B1A4B1-9D10-FDED-659C-879E5C90E381}"/>
              </a:ext>
            </a:extLst>
          </p:cNvPr>
          <p:cNvGrpSpPr/>
          <p:nvPr/>
        </p:nvGrpSpPr>
        <p:grpSpPr>
          <a:xfrm>
            <a:off x="1755234" y="3757665"/>
            <a:ext cx="2079391" cy="1065353"/>
            <a:chOff x="1262064" y="3333195"/>
            <a:chExt cx="1350963" cy="692151"/>
          </a:xfrm>
          <a:solidFill>
            <a:schemeClr val="accent2"/>
          </a:solidFill>
        </p:grpSpPr>
        <p:sp>
          <p:nvSpPr>
            <p:cNvPr id="120" name="Freeform 5">
              <a:extLst>
                <a:ext uri="{FF2B5EF4-FFF2-40B4-BE49-F238E27FC236}">
                  <a16:creationId xmlns:a16="http://schemas.microsoft.com/office/drawing/2014/main" id="{133988B8-7F36-A2AD-EEA2-04CF545A8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064" y="3333195"/>
              <a:ext cx="1350963" cy="144463"/>
            </a:xfrm>
            <a:custGeom>
              <a:avLst/>
              <a:gdLst/>
              <a:ahLst/>
              <a:cxnLst>
                <a:cxn ang="0">
                  <a:pos x="529" y="28"/>
                </a:cxn>
                <a:cxn ang="0">
                  <a:pos x="527" y="30"/>
                </a:cxn>
                <a:cxn ang="0">
                  <a:pos x="451" y="47"/>
                </a:cxn>
                <a:cxn ang="0">
                  <a:pos x="265" y="56"/>
                </a:cxn>
                <a:cxn ang="0">
                  <a:pos x="78" y="47"/>
                </a:cxn>
                <a:cxn ang="0">
                  <a:pos x="2" y="30"/>
                </a:cxn>
                <a:cxn ang="0">
                  <a:pos x="0" y="28"/>
                </a:cxn>
                <a:cxn ang="0">
                  <a:pos x="78" y="8"/>
                </a:cxn>
                <a:cxn ang="0">
                  <a:pos x="265" y="0"/>
                </a:cxn>
                <a:cxn ang="0">
                  <a:pos x="451" y="8"/>
                </a:cxn>
                <a:cxn ang="0">
                  <a:pos x="529" y="28"/>
                </a:cxn>
              </a:cxnLst>
              <a:rect l="0" t="0" r="r" b="b"/>
              <a:pathLst>
                <a:path w="529" h="56">
                  <a:moveTo>
                    <a:pt x="529" y="28"/>
                  </a:moveTo>
                  <a:cubicBezTo>
                    <a:pt x="529" y="29"/>
                    <a:pt x="528" y="30"/>
                    <a:pt x="527" y="30"/>
                  </a:cubicBezTo>
                  <a:cubicBezTo>
                    <a:pt x="522" y="37"/>
                    <a:pt x="496" y="43"/>
                    <a:pt x="451" y="47"/>
                  </a:cubicBezTo>
                  <a:cubicBezTo>
                    <a:pt x="400" y="53"/>
                    <a:pt x="338" y="56"/>
                    <a:pt x="265" y="56"/>
                  </a:cubicBezTo>
                  <a:cubicBezTo>
                    <a:pt x="192" y="56"/>
                    <a:pt x="129" y="53"/>
                    <a:pt x="78" y="47"/>
                  </a:cubicBezTo>
                  <a:cubicBezTo>
                    <a:pt x="33" y="43"/>
                    <a:pt x="7" y="37"/>
                    <a:pt x="2" y="30"/>
                  </a:cubicBezTo>
                  <a:cubicBezTo>
                    <a:pt x="1" y="30"/>
                    <a:pt x="0" y="29"/>
                    <a:pt x="0" y="28"/>
                  </a:cubicBezTo>
                  <a:cubicBezTo>
                    <a:pt x="0" y="20"/>
                    <a:pt x="26" y="13"/>
                    <a:pt x="78" y="8"/>
                  </a:cubicBezTo>
                  <a:cubicBezTo>
                    <a:pt x="129" y="3"/>
                    <a:pt x="192" y="0"/>
                    <a:pt x="265" y="0"/>
                  </a:cubicBezTo>
                  <a:cubicBezTo>
                    <a:pt x="338" y="0"/>
                    <a:pt x="400" y="3"/>
                    <a:pt x="451" y="8"/>
                  </a:cubicBezTo>
                  <a:cubicBezTo>
                    <a:pt x="503" y="13"/>
                    <a:pt x="529" y="20"/>
                    <a:pt x="529" y="28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1" name="Freeform 6">
              <a:extLst>
                <a:ext uri="{FF2B5EF4-FFF2-40B4-BE49-F238E27FC236}">
                  <a16:creationId xmlns:a16="http://schemas.microsoft.com/office/drawing/2014/main" id="{C6E054ED-BA19-8E07-E267-9322FE199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651" y="3410983"/>
              <a:ext cx="1347788" cy="614363"/>
            </a:xfrm>
            <a:custGeom>
              <a:avLst/>
              <a:gdLst/>
              <a:ahLst/>
              <a:cxnLst>
                <a:cxn ang="0">
                  <a:pos x="450" y="17"/>
                </a:cxn>
                <a:cxn ang="0">
                  <a:pos x="526" y="0"/>
                </a:cxn>
                <a:cxn ang="0">
                  <a:pos x="528" y="1"/>
                </a:cxn>
                <a:cxn ang="0">
                  <a:pos x="412" y="223"/>
                </a:cxn>
                <a:cxn ang="0">
                  <a:pos x="411" y="223"/>
                </a:cxn>
                <a:cxn ang="0">
                  <a:pos x="411" y="224"/>
                </a:cxn>
                <a:cxn ang="0">
                  <a:pos x="411" y="225"/>
                </a:cxn>
                <a:cxn ang="0">
                  <a:pos x="410" y="226"/>
                </a:cxn>
                <a:cxn ang="0">
                  <a:pos x="407" y="228"/>
                </a:cxn>
                <a:cxn ang="0">
                  <a:pos x="368" y="236"/>
                </a:cxn>
                <a:cxn ang="0">
                  <a:pos x="264" y="241"/>
                </a:cxn>
                <a:cxn ang="0">
                  <a:pos x="159" y="236"/>
                </a:cxn>
                <a:cxn ang="0">
                  <a:pos x="118" y="227"/>
                </a:cxn>
                <a:cxn ang="0">
                  <a:pos x="116" y="224"/>
                </a:cxn>
                <a:cxn ang="0">
                  <a:pos x="116" y="223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77" y="17"/>
                </a:cxn>
                <a:cxn ang="0">
                  <a:pos x="264" y="26"/>
                </a:cxn>
                <a:cxn ang="0">
                  <a:pos x="450" y="17"/>
                </a:cxn>
              </a:cxnLst>
              <a:rect l="0" t="0" r="r" b="b"/>
              <a:pathLst>
                <a:path w="528" h="241">
                  <a:moveTo>
                    <a:pt x="450" y="17"/>
                  </a:moveTo>
                  <a:cubicBezTo>
                    <a:pt x="495" y="13"/>
                    <a:pt x="521" y="7"/>
                    <a:pt x="526" y="0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412" y="223"/>
                    <a:pt x="412" y="223"/>
                    <a:pt x="412" y="223"/>
                  </a:cubicBezTo>
                  <a:cubicBezTo>
                    <a:pt x="411" y="223"/>
                    <a:pt x="411" y="223"/>
                    <a:pt x="411" y="223"/>
                  </a:cubicBezTo>
                  <a:cubicBezTo>
                    <a:pt x="411" y="224"/>
                    <a:pt x="411" y="224"/>
                    <a:pt x="411" y="224"/>
                  </a:cubicBezTo>
                  <a:cubicBezTo>
                    <a:pt x="411" y="225"/>
                    <a:pt x="411" y="225"/>
                    <a:pt x="411" y="225"/>
                  </a:cubicBezTo>
                  <a:cubicBezTo>
                    <a:pt x="411" y="225"/>
                    <a:pt x="411" y="226"/>
                    <a:pt x="410" y="226"/>
                  </a:cubicBezTo>
                  <a:cubicBezTo>
                    <a:pt x="409" y="227"/>
                    <a:pt x="408" y="228"/>
                    <a:pt x="407" y="228"/>
                  </a:cubicBezTo>
                  <a:cubicBezTo>
                    <a:pt x="368" y="236"/>
                    <a:pt x="368" y="236"/>
                    <a:pt x="368" y="236"/>
                  </a:cubicBezTo>
                  <a:cubicBezTo>
                    <a:pt x="339" y="239"/>
                    <a:pt x="304" y="241"/>
                    <a:pt x="264" y="241"/>
                  </a:cubicBezTo>
                  <a:cubicBezTo>
                    <a:pt x="223" y="241"/>
                    <a:pt x="188" y="239"/>
                    <a:pt x="159" y="236"/>
                  </a:cubicBezTo>
                  <a:cubicBezTo>
                    <a:pt x="136" y="233"/>
                    <a:pt x="122" y="230"/>
                    <a:pt x="118" y="227"/>
                  </a:cubicBezTo>
                  <a:cubicBezTo>
                    <a:pt x="116" y="226"/>
                    <a:pt x="116" y="225"/>
                    <a:pt x="116" y="224"/>
                  </a:cubicBezTo>
                  <a:cubicBezTo>
                    <a:pt x="116" y="224"/>
                    <a:pt x="116" y="223"/>
                    <a:pt x="116" y="22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7"/>
                    <a:pt x="32" y="13"/>
                    <a:pt x="77" y="17"/>
                  </a:cubicBezTo>
                  <a:cubicBezTo>
                    <a:pt x="128" y="23"/>
                    <a:pt x="191" y="26"/>
                    <a:pt x="264" y="26"/>
                  </a:cubicBezTo>
                  <a:cubicBezTo>
                    <a:pt x="337" y="26"/>
                    <a:pt x="399" y="23"/>
                    <a:pt x="450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8B0B0B68-22E0-649E-2779-698EA93D1D86}"/>
              </a:ext>
            </a:extLst>
          </p:cNvPr>
          <p:cNvGrpSpPr/>
          <p:nvPr/>
        </p:nvGrpSpPr>
        <p:grpSpPr>
          <a:xfrm>
            <a:off x="1319074" y="2658105"/>
            <a:ext cx="2951708" cy="1148429"/>
            <a:chOff x="978695" y="2618820"/>
            <a:chExt cx="1917700" cy="746125"/>
          </a:xfrm>
          <a:solidFill>
            <a:schemeClr val="accent3"/>
          </a:solidFill>
        </p:grpSpPr>
        <p:sp>
          <p:nvSpPr>
            <p:cNvPr id="118" name="Freeform 7">
              <a:extLst>
                <a:ext uri="{FF2B5EF4-FFF2-40B4-BE49-F238E27FC236}">
                  <a16:creationId xmlns:a16="http://schemas.microsoft.com/office/drawing/2014/main" id="{9D2CB94D-2C80-8CBF-D432-3B96BE088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695" y="2618820"/>
              <a:ext cx="1917700" cy="260350"/>
            </a:xfrm>
            <a:custGeom>
              <a:avLst/>
              <a:gdLst/>
              <a:ahLst/>
              <a:cxnLst>
                <a:cxn ang="0">
                  <a:pos x="749" y="57"/>
                </a:cxn>
                <a:cxn ang="0">
                  <a:pos x="641" y="87"/>
                </a:cxn>
                <a:cxn ang="0">
                  <a:pos x="375" y="102"/>
                </a:cxn>
                <a:cxn ang="0">
                  <a:pos x="110" y="87"/>
                </a:cxn>
                <a:cxn ang="0">
                  <a:pos x="2" y="57"/>
                </a:cxn>
                <a:cxn ang="0">
                  <a:pos x="0" y="54"/>
                </a:cxn>
                <a:cxn ang="0">
                  <a:pos x="0" y="51"/>
                </a:cxn>
                <a:cxn ang="0">
                  <a:pos x="110" y="15"/>
                </a:cxn>
                <a:cxn ang="0">
                  <a:pos x="375" y="0"/>
                </a:cxn>
                <a:cxn ang="0">
                  <a:pos x="641" y="15"/>
                </a:cxn>
                <a:cxn ang="0">
                  <a:pos x="751" y="51"/>
                </a:cxn>
                <a:cxn ang="0">
                  <a:pos x="749" y="57"/>
                </a:cxn>
              </a:cxnLst>
              <a:rect l="0" t="0" r="r" b="b"/>
              <a:pathLst>
                <a:path w="751" h="102">
                  <a:moveTo>
                    <a:pt x="749" y="57"/>
                  </a:moveTo>
                  <a:cubicBezTo>
                    <a:pt x="741" y="69"/>
                    <a:pt x="705" y="79"/>
                    <a:pt x="641" y="87"/>
                  </a:cubicBezTo>
                  <a:cubicBezTo>
                    <a:pt x="568" y="97"/>
                    <a:pt x="479" y="102"/>
                    <a:pt x="375" y="102"/>
                  </a:cubicBezTo>
                  <a:cubicBezTo>
                    <a:pt x="272" y="102"/>
                    <a:pt x="183" y="97"/>
                    <a:pt x="110" y="87"/>
                  </a:cubicBezTo>
                  <a:cubicBezTo>
                    <a:pt x="47" y="79"/>
                    <a:pt x="11" y="69"/>
                    <a:pt x="2" y="57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3"/>
                    <a:pt x="0" y="52"/>
                    <a:pt x="0" y="51"/>
                  </a:cubicBezTo>
                  <a:cubicBezTo>
                    <a:pt x="0" y="37"/>
                    <a:pt x="36" y="25"/>
                    <a:pt x="110" y="15"/>
                  </a:cubicBezTo>
                  <a:cubicBezTo>
                    <a:pt x="183" y="5"/>
                    <a:pt x="272" y="0"/>
                    <a:pt x="375" y="0"/>
                  </a:cubicBezTo>
                  <a:cubicBezTo>
                    <a:pt x="479" y="0"/>
                    <a:pt x="568" y="5"/>
                    <a:pt x="641" y="15"/>
                  </a:cubicBezTo>
                  <a:cubicBezTo>
                    <a:pt x="714" y="25"/>
                    <a:pt x="751" y="37"/>
                    <a:pt x="751" y="51"/>
                  </a:cubicBezTo>
                  <a:cubicBezTo>
                    <a:pt x="751" y="53"/>
                    <a:pt x="750" y="55"/>
                    <a:pt x="749" y="5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9" name="Freeform 8">
              <a:extLst>
                <a:ext uri="{FF2B5EF4-FFF2-40B4-BE49-F238E27FC236}">
                  <a16:creationId xmlns:a16="http://schemas.microsoft.com/office/drawing/2014/main" id="{9EBC8C70-2054-BFA7-D95D-8742CF915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664" y="2764870"/>
              <a:ext cx="1909763" cy="600075"/>
            </a:xfrm>
            <a:custGeom>
              <a:avLst/>
              <a:gdLst/>
              <a:ahLst/>
              <a:cxnLst>
                <a:cxn ang="0">
                  <a:pos x="748" y="0"/>
                </a:cxn>
                <a:cxn ang="0">
                  <a:pos x="638" y="210"/>
                </a:cxn>
                <a:cxn ang="0">
                  <a:pos x="636" y="209"/>
                </a:cxn>
                <a:cxn ang="0">
                  <a:pos x="560" y="226"/>
                </a:cxn>
                <a:cxn ang="0">
                  <a:pos x="374" y="235"/>
                </a:cxn>
                <a:cxn ang="0">
                  <a:pos x="187" y="226"/>
                </a:cxn>
                <a:cxn ang="0">
                  <a:pos x="111" y="209"/>
                </a:cxn>
                <a:cxn ang="0">
                  <a:pos x="110" y="210"/>
                </a:cxn>
                <a:cxn ang="0">
                  <a:pos x="0" y="0"/>
                </a:cxn>
                <a:cxn ang="0">
                  <a:pos x="108" y="30"/>
                </a:cxn>
                <a:cxn ang="0">
                  <a:pos x="373" y="45"/>
                </a:cxn>
                <a:cxn ang="0">
                  <a:pos x="639" y="30"/>
                </a:cxn>
                <a:cxn ang="0">
                  <a:pos x="747" y="0"/>
                </a:cxn>
                <a:cxn ang="0">
                  <a:pos x="748" y="0"/>
                </a:cxn>
              </a:cxnLst>
              <a:rect l="0" t="0" r="r" b="b"/>
              <a:pathLst>
                <a:path w="748" h="235">
                  <a:moveTo>
                    <a:pt x="748" y="0"/>
                  </a:moveTo>
                  <a:cubicBezTo>
                    <a:pt x="638" y="210"/>
                    <a:pt x="638" y="210"/>
                    <a:pt x="638" y="210"/>
                  </a:cubicBezTo>
                  <a:cubicBezTo>
                    <a:pt x="636" y="209"/>
                    <a:pt x="636" y="209"/>
                    <a:pt x="636" y="209"/>
                  </a:cubicBezTo>
                  <a:cubicBezTo>
                    <a:pt x="631" y="216"/>
                    <a:pt x="605" y="222"/>
                    <a:pt x="560" y="226"/>
                  </a:cubicBezTo>
                  <a:cubicBezTo>
                    <a:pt x="509" y="232"/>
                    <a:pt x="447" y="235"/>
                    <a:pt x="374" y="235"/>
                  </a:cubicBezTo>
                  <a:cubicBezTo>
                    <a:pt x="301" y="235"/>
                    <a:pt x="238" y="232"/>
                    <a:pt x="187" y="226"/>
                  </a:cubicBezTo>
                  <a:cubicBezTo>
                    <a:pt x="142" y="222"/>
                    <a:pt x="116" y="216"/>
                    <a:pt x="111" y="209"/>
                  </a:cubicBezTo>
                  <a:cubicBezTo>
                    <a:pt x="110" y="210"/>
                    <a:pt x="110" y="210"/>
                    <a:pt x="110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12"/>
                    <a:pt x="45" y="22"/>
                    <a:pt x="108" y="30"/>
                  </a:cubicBezTo>
                  <a:cubicBezTo>
                    <a:pt x="181" y="40"/>
                    <a:pt x="270" y="45"/>
                    <a:pt x="373" y="45"/>
                  </a:cubicBezTo>
                  <a:cubicBezTo>
                    <a:pt x="477" y="45"/>
                    <a:pt x="566" y="40"/>
                    <a:pt x="639" y="30"/>
                  </a:cubicBezTo>
                  <a:cubicBezTo>
                    <a:pt x="703" y="22"/>
                    <a:pt x="739" y="12"/>
                    <a:pt x="747" y="0"/>
                  </a:cubicBezTo>
                  <a:lnTo>
                    <a:pt x="7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37D3511B-374C-0077-8F62-738C86CC4AB7}"/>
              </a:ext>
            </a:extLst>
          </p:cNvPr>
          <p:cNvGrpSpPr/>
          <p:nvPr/>
        </p:nvGrpSpPr>
        <p:grpSpPr>
          <a:xfrm>
            <a:off x="858480" y="1495014"/>
            <a:ext cx="3872896" cy="1273047"/>
            <a:chOff x="679451" y="1863170"/>
            <a:chExt cx="2516188" cy="827088"/>
          </a:xfrm>
          <a:solidFill>
            <a:schemeClr val="accent4"/>
          </a:solidFill>
        </p:grpSpPr>
        <p:sp>
          <p:nvSpPr>
            <p:cNvPr id="116" name="Freeform 9">
              <a:extLst>
                <a:ext uri="{FF2B5EF4-FFF2-40B4-BE49-F238E27FC236}">
                  <a16:creationId xmlns:a16="http://schemas.microsoft.com/office/drawing/2014/main" id="{48059CC2-1572-1677-523F-A56A48EBD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51" y="1863170"/>
              <a:ext cx="2516188" cy="260350"/>
            </a:xfrm>
            <a:custGeom>
              <a:avLst/>
              <a:gdLst/>
              <a:ahLst/>
              <a:cxnLst>
                <a:cxn ang="0">
                  <a:pos x="1" y="55"/>
                </a:cxn>
                <a:cxn ang="0">
                  <a:pos x="0" y="54"/>
                </a:cxn>
                <a:cxn ang="0">
                  <a:pos x="0" y="51"/>
                </a:cxn>
                <a:cxn ang="0">
                  <a:pos x="144" y="15"/>
                </a:cxn>
                <a:cxn ang="0">
                  <a:pos x="492" y="0"/>
                </a:cxn>
                <a:cxn ang="0">
                  <a:pos x="840" y="15"/>
                </a:cxn>
                <a:cxn ang="0">
                  <a:pos x="985" y="51"/>
                </a:cxn>
                <a:cxn ang="0">
                  <a:pos x="984" y="54"/>
                </a:cxn>
                <a:cxn ang="0">
                  <a:pos x="984" y="55"/>
                </a:cxn>
                <a:cxn ang="0">
                  <a:pos x="840" y="87"/>
                </a:cxn>
                <a:cxn ang="0">
                  <a:pos x="492" y="102"/>
                </a:cxn>
                <a:cxn ang="0">
                  <a:pos x="144" y="87"/>
                </a:cxn>
                <a:cxn ang="0">
                  <a:pos x="1" y="55"/>
                </a:cxn>
              </a:cxnLst>
              <a:rect l="0" t="0" r="r" b="b"/>
              <a:pathLst>
                <a:path w="985" h="102">
                  <a:moveTo>
                    <a:pt x="1" y="55"/>
                  </a:moveTo>
                  <a:cubicBezTo>
                    <a:pt x="1" y="55"/>
                    <a:pt x="1" y="54"/>
                    <a:pt x="0" y="54"/>
                  </a:cubicBezTo>
                  <a:cubicBezTo>
                    <a:pt x="0" y="53"/>
                    <a:pt x="0" y="52"/>
                    <a:pt x="0" y="51"/>
                  </a:cubicBezTo>
                  <a:cubicBezTo>
                    <a:pt x="0" y="37"/>
                    <a:pt x="48" y="25"/>
                    <a:pt x="144" y="15"/>
                  </a:cubicBezTo>
                  <a:cubicBezTo>
                    <a:pt x="240" y="5"/>
                    <a:pt x="357" y="0"/>
                    <a:pt x="492" y="0"/>
                  </a:cubicBezTo>
                  <a:cubicBezTo>
                    <a:pt x="628" y="0"/>
                    <a:pt x="744" y="5"/>
                    <a:pt x="840" y="15"/>
                  </a:cubicBezTo>
                  <a:cubicBezTo>
                    <a:pt x="937" y="25"/>
                    <a:pt x="985" y="37"/>
                    <a:pt x="985" y="51"/>
                  </a:cubicBezTo>
                  <a:cubicBezTo>
                    <a:pt x="985" y="52"/>
                    <a:pt x="984" y="53"/>
                    <a:pt x="984" y="54"/>
                  </a:cubicBezTo>
                  <a:cubicBezTo>
                    <a:pt x="984" y="54"/>
                    <a:pt x="984" y="54"/>
                    <a:pt x="984" y="55"/>
                  </a:cubicBezTo>
                  <a:cubicBezTo>
                    <a:pt x="976" y="67"/>
                    <a:pt x="929" y="78"/>
                    <a:pt x="840" y="87"/>
                  </a:cubicBezTo>
                  <a:cubicBezTo>
                    <a:pt x="744" y="97"/>
                    <a:pt x="628" y="102"/>
                    <a:pt x="492" y="102"/>
                  </a:cubicBezTo>
                  <a:cubicBezTo>
                    <a:pt x="357" y="102"/>
                    <a:pt x="240" y="97"/>
                    <a:pt x="144" y="87"/>
                  </a:cubicBezTo>
                  <a:cubicBezTo>
                    <a:pt x="57" y="78"/>
                    <a:pt x="10" y="68"/>
                    <a:pt x="1" y="5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7" name="Freeform 10">
              <a:extLst>
                <a:ext uri="{FF2B5EF4-FFF2-40B4-BE49-F238E27FC236}">
                  <a16:creationId xmlns:a16="http://schemas.microsoft.com/office/drawing/2014/main" id="{C90A2487-CAB5-89BE-D942-8D312B72C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626" y="2002870"/>
              <a:ext cx="2509838" cy="687388"/>
            </a:xfrm>
            <a:custGeom>
              <a:avLst/>
              <a:gdLst/>
              <a:ahLst/>
              <a:cxnLst>
                <a:cxn ang="0">
                  <a:pos x="983" y="0"/>
                </a:cxn>
                <a:cxn ang="0">
                  <a:pos x="866" y="224"/>
                </a:cxn>
                <a:cxn ang="0">
                  <a:pos x="865" y="224"/>
                </a:cxn>
                <a:cxn ang="0">
                  <a:pos x="757" y="254"/>
                </a:cxn>
                <a:cxn ang="0">
                  <a:pos x="491" y="269"/>
                </a:cxn>
                <a:cxn ang="0">
                  <a:pos x="226" y="254"/>
                </a:cxn>
                <a:cxn ang="0">
                  <a:pos x="118" y="224"/>
                </a:cxn>
                <a:cxn ang="0">
                  <a:pos x="116" y="221"/>
                </a:cxn>
                <a:cxn ang="0">
                  <a:pos x="115" y="218"/>
                </a:cxn>
                <a:cxn ang="0">
                  <a:pos x="115" y="219"/>
                </a:cxn>
                <a:cxn ang="0">
                  <a:pos x="0" y="0"/>
                </a:cxn>
                <a:cxn ang="0">
                  <a:pos x="143" y="32"/>
                </a:cxn>
                <a:cxn ang="0">
                  <a:pos x="491" y="47"/>
                </a:cxn>
                <a:cxn ang="0">
                  <a:pos x="839" y="32"/>
                </a:cxn>
                <a:cxn ang="0">
                  <a:pos x="983" y="0"/>
                </a:cxn>
              </a:cxnLst>
              <a:rect l="0" t="0" r="r" b="b"/>
              <a:pathLst>
                <a:path w="983" h="269">
                  <a:moveTo>
                    <a:pt x="983" y="0"/>
                  </a:moveTo>
                  <a:cubicBezTo>
                    <a:pt x="866" y="224"/>
                    <a:pt x="866" y="224"/>
                    <a:pt x="866" y="224"/>
                  </a:cubicBezTo>
                  <a:cubicBezTo>
                    <a:pt x="865" y="224"/>
                    <a:pt x="865" y="224"/>
                    <a:pt x="865" y="224"/>
                  </a:cubicBezTo>
                  <a:cubicBezTo>
                    <a:pt x="857" y="235"/>
                    <a:pt x="821" y="246"/>
                    <a:pt x="757" y="254"/>
                  </a:cubicBezTo>
                  <a:cubicBezTo>
                    <a:pt x="683" y="264"/>
                    <a:pt x="595" y="269"/>
                    <a:pt x="491" y="269"/>
                  </a:cubicBezTo>
                  <a:cubicBezTo>
                    <a:pt x="388" y="269"/>
                    <a:pt x="299" y="264"/>
                    <a:pt x="226" y="254"/>
                  </a:cubicBezTo>
                  <a:cubicBezTo>
                    <a:pt x="163" y="246"/>
                    <a:pt x="127" y="236"/>
                    <a:pt x="118" y="224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5" y="220"/>
                    <a:pt x="115" y="219"/>
                    <a:pt x="115" y="218"/>
                  </a:cubicBezTo>
                  <a:cubicBezTo>
                    <a:pt x="115" y="219"/>
                    <a:pt x="115" y="219"/>
                    <a:pt x="115" y="2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13"/>
                    <a:pt x="56" y="23"/>
                    <a:pt x="143" y="32"/>
                  </a:cubicBezTo>
                  <a:cubicBezTo>
                    <a:pt x="239" y="42"/>
                    <a:pt x="356" y="47"/>
                    <a:pt x="491" y="47"/>
                  </a:cubicBezTo>
                  <a:cubicBezTo>
                    <a:pt x="627" y="47"/>
                    <a:pt x="743" y="42"/>
                    <a:pt x="839" y="32"/>
                  </a:cubicBezTo>
                  <a:cubicBezTo>
                    <a:pt x="928" y="23"/>
                    <a:pt x="975" y="12"/>
                    <a:pt x="98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56E4F66-B846-BBE9-BBDE-8CC3B9FEF796}"/>
              </a:ext>
            </a:extLst>
          </p:cNvPr>
          <p:cNvGrpSpPr/>
          <p:nvPr/>
        </p:nvGrpSpPr>
        <p:grpSpPr>
          <a:xfrm>
            <a:off x="2212160" y="4832790"/>
            <a:ext cx="1165535" cy="777024"/>
            <a:chOff x="1558926" y="4031695"/>
            <a:chExt cx="757238" cy="504826"/>
          </a:xfrm>
          <a:solidFill>
            <a:schemeClr val="accent1"/>
          </a:solidFill>
        </p:grpSpPr>
        <p:sp>
          <p:nvSpPr>
            <p:cNvPr id="114" name="Freeform 12">
              <a:extLst>
                <a:ext uri="{FF2B5EF4-FFF2-40B4-BE49-F238E27FC236}">
                  <a16:creationId xmlns:a16="http://schemas.microsoft.com/office/drawing/2014/main" id="{BD011C1A-CF64-341F-DAF2-F2092028E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514" y="4031695"/>
              <a:ext cx="754063" cy="85725"/>
            </a:xfrm>
            <a:custGeom>
              <a:avLst/>
              <a:gdLst/>
              <a:ahLst/>
              <a:cxnLst>
                <a:cxn ang="0">
                  <a:pos x="43" y="5"/>
                </a:cxn>
                <a:cxn ang="0">
                  <a:pos x="148" y="0"/>
                </a:cxn>
                <a:cxn ang="0">
                  <a:pos x="252" y="5"/>
                </a:cxn>
                <a:cxn ang="0">
                  <a:pos x="256" y="5"/>
                </a:cxn>
                <a:cxn ang="0">
                  <a:pos x="295" y="15"/>
                </a:cxn>
                <a:cxn ang="0">
                  <a:pos x="295" y="17"/>
                </a:cxn>
                <a:cxn ang="0">
                  <a:pos x="295" y="18"/>
                </a:cxn>
                <a:cxn ang="0">
                  <a:pos x="294" y="19"/>
                </a:cxn>
                <a:cxn ang="0">
                  <a:pos x="294" y="19"/>
                </a:cxn>
                <a:cxn ang="0">
                  <a:pos x="292" y="20"/>
                </a:cxn>
                <a:cxn ang="0">
                  <a:pos x="290" y="21"/>
                </a:cxn>
                <a:cxn ang="0">
                  <a:pos x="252" y="29"/>
                </a:cxn>
                <a:cxn ang="0">
                  <a:pos x="148" y="34"/>
                </a:cxn>
                <a:cxn ang="0">
                  <a:pos x="43" y="29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0" y="16"/>
                </a:cxn>
                <a:cxn ang="0">
                  <a:pos x="43" y="5"/>
                </a:cxn>
              </a:cxnLst>
              <a:rect l="0" t="0" r="r" b="b"/>
              <a:pathLst>
                <a:path w="295" h="34">
                  <a:moveTo>
                    <a:pt x="43" y="5"/>
                  </a:moveTo>
                  <a:cubicBezTo>
                    <a:pt x="72" y="2"/>
                    <a:pt x="107" y="0"/>
                    <a:pt x="148" y="0"/>
                  </a:cubicBezTo>
                  <a:cubicBezTo>
                    <a:pt x="188" y="0"/>
                    <a:pt x="223" y="2"/>
                    <a:pt x="252" y="5"/>
                  </a:cubicBezTo>
                  <a:cubicBezTo>
                    <a:pt x="253" y="5"/>
                    <a:pt x="255" y="5"/>
                    <a:pt x="256" y="5"/>
                  </a:cubicBezTo>
                  <a:cubicBezTo>
                    <a:pt x="295" y="15"/>
                    <a:pt x="295" y="15"/>
                    <a:pt x="295" y="15"/>
                  </a:cubicBezTo>
                  <a:cubicBezTo>
                    <a:pt x="295" y="16"/>
                    <a:pt x="295" y="16"/>
                    <a:pt x="295" y="17"/>
                  </a:cubicBezTo>
                  <a:cubicBezTo>
                    <a:pt x="295" y="18"/>
                    <a:pt x="295" y="18"/>
                    <a:pt x="295" y="18"/>
                  </a:cubicBezTo>
                  <a:cubicBezTo>
                    <a:pt x="295" y="18"/>
                    <a:pt x="295" y="19"/>
                    <a:pt x="294" y="19"/>
                  </a:cubicBezTo>
                  <a:cubicBezTo>
                    <a:pt x="294" y="19"/>
                    <a:pt x="294" y="19"/>
                    <a:pt x="294" y="19"/>
                  </a:cubicBezTo>
                  <a:cubicBezTo>
                    <a:pt x="294" y="20"/>
                    <a:pt x="293" y="20"/>
                    <a:pt x="292" y="20"/>
                  </a:cubicBezTo>
                  <a:cubicBezTo>
                    <a:pt x="292" y="21"/>
                    <a:pt x="291" y="21"/>
                    <a:pt x="290" y="21"/>
                  </a:cubicBezTo>
                  <a:cubicBezTo>
                    <a:pt x="284" y="24"/>
                    <a:pt x="271" y="27"/>
                    <a:pt x="252" y="29"/>
                  </a:cubicBezTo>
                  <a:cubicBezTo>
                    <a:pt x="223" y="32"/>
                    <a:pt x="188" y="34"/>
                    <a:pt x="148" y="34"/>
                  </a:cubicBezTo>
                  <a:cubicBezTo>
                    <a:pt x="107" y="34"/>
                    <a:pt x="72" y="32"/>
                    <a:pt x="43" y="29"/>
                  </a:cubicBezTo>
                  <a:cubicBezTo>
                    <a:pt x="20" y="26"/>
                    <a:pt x="7" y="23"/>
                    <a:pt x="2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2"/>
                    <a:pt x="16" y="8"/>
                    <a:pt x="43" y="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5" name="Freeform 13">
              <a:extLst>
                <a:ext uri="{FF2B5EF4-FFF2-40B4-BE49-F238E27FC236}">
                  <a16:creationId xmlns:a16="http://schemas.microsoft.com/office/drawing/2014/main" id="{EADDE5FB-8C2D-F8B6-B52E-3715D6111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8926" y="4074558"/>
              <a:ext cx="757238" cy="461963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43" y="12"/>
                </a:cxn>
                <a:cxn ang="0">
                  <a:pos x="148" y="17"/>
                </a:cxn>
                <a:cxn ang="0">
                  <a:pos x="252" y="12"/>
                </a:cxn>
                <a:cxn ang="0">
                  <a:pos x="290" y="4"/>
                </a:cxn>
                <a:cxn ang="0">
                  <a:pos x="291" y="4"/>
                </a:cxn>
                <a:cxn ang="0">
                  <a:pos x="294" y="2"/>
                </a:cxn>
                <a:cxn ang="0">
                  <a:pos x="295" y="1"/>
                </a:cxn>
                <a:cxn ang="0">
                  <a:pos x="295" y="0"/>
                </a:cxn>
                <a:cxn ang="0">
                  <a:pos x="296" y="0"/>
                </a:cxn>
                <a:cxn ang="0">
                  <a:pos x="296" y="164"/>
                </a:cxn>
                <a:cxn ang="0">
                  <a:pos x="295" y="164"/>
                </a:cxn>
                <a:cxn ang="0">
                  <a:pos x="252" y="176"/>
                </a:cxn>
                <a:cxn ang="0">
                  <a:pos x="148" y="181"/>
                </a:cxn>
                <a:cxn ang="0">
                  <a:pos x="43" y="176"/>
                </a:cxn>
                <a:cxn ang="0">
                  <a:pos x="2" y="167"/>
                </a:cxn>
                <a:cxn ang="0">
                  <a:pos x="0" y="164"/>
                </a:cxn>
                <a:cxn ang="0">
                  <a:pos x="2" y="161"/>
                </a:cxn>
                <a:cxn ang="0">
                  <a:pos x="2" y="3"/>
                </a:cxn>
              </a:cxnLst>
              <a:rect l="0" t="0" r="r" b="b"/>
              <a:pathLst>
                <a:path w="296" h="181">
                  <a:moveTo>
                    <a:pt x="2" y="3"/>
                  </a:moveTo>
                  <a:cubicBezTo>
                    <a:pt x="7" y="6"/>
                    <a:pt x="20" y="9"/>
                    <a:pt x="43" y="12"/>
                  </a:cubicBezTo>
                  <a:cubicBezTo>
                    <a:pt x="72" y="15"/>
                    <a:pt x="107" y="17"/>
                    <a:pt x="148" y="17"/>
                  </a:cubicBezTo>
                  <a:cubicBezTo>
                    <a:pt x="188" y="17"/>
                    <a:pt x="223" y="15"/>
                    <a:pt x="252" y="12"/>
                  </a:cubicBezTo>
                  <a:cubicBezTo>
                    <a:pt x="271" y="10"/>
                    <a:pt x="284" y="7"/>
                    <a:pt x="290" y="4"/>
                  </a:cubicBezTo>
                  <a:cubicBezTo>
                    <a:pt x="291" y="4"/>
                    <a:pt x="291" y="4"/>
                    <a:pt x="291" y="4"/>
                  </a:cubicBezTo>
                  <a:cubicBezTo>
                    <a:pt x="292" y="4"/>
                    <a:pt x="293" y="3"/>
                    <a:pt x="294" y="2"/>
                  </a:cubicBezTo>
                  <a:cubicBezTo>
                    <a:pt x="295" y="2"/>
                    <a:pt x="295" y="1"/>
                    <a:pt x="295" y="1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96" y="0"/>
                    <a:pt x="296" y="0"/>
                    <a:pt x="296" y="0"/>
                  </a:cubicBezTo>
                  <a:cubicBezTo>
                    <a:pt x="296" y="164"/>
                    <a:pt x="296" y="164"/>
                    <a:pt x="296" y="164"/>
                  </a:cubicBezTo>
                  <a:cubicBezTo>
                    <a:pt x="295" y="164"/>
                    <a:pt x="295" y="164"/>
                    <a:pt x="295" y="164"/>
                  </a:cubicBezTo>
                  <a:cubicBezTo>
                    <a:pt x="295" y="169"/>
                    <a:pt x="281" y="173"/>
                    <a:pt x="252" y="176"/>
                  </a:cubicBezTo>
                  <a:cubicBezTo>
                    <a:pt x="223" y="179"/>
                    <a:pt x="188" y="181"/>
                    <a:pt x="148" y="181"/>
                  </a:cubicBezTo>
                  <a:cubicBezTo>
                    <a:pt x="107" y="181"/>
                    <a:pt x="72" y="179"/>
                    <a:pt x="43" y="176"/>
                  </a:cubicBezTo>
                  <a:cubicBezTo>
                    <a:pt x="20" y="173"/>
                    <a:pt x="7" y="170"/>
                    <a:pt x="2" y="167"/>
                  </a:cubicBezTo>
                  <a:cubicBezTo>
                    <a:pt x="0" y="166"/>
                    <a:pt x="0" y="165"/>
                    <a:pt x="0" y="164"/>
                  </a:cubicBezTo>
                  <a:cubicBezTo>
                    <a:pt x="0" y="163"/>
                    <a:pt x="0" y="162"/>
                    <a:pt x="2" y="161"/>
                  </a:cubicBezTo>
                  <a:lnTo>
                    <a:pt x="2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064B1B3-EC12-31A9-AFC2-1ABA5E958BDE}"/>
              </a:ext>
            </a:extLst>
          </p:cNvPr>
          <p:cNvCxnSpPr/>
          <p:nvPr/>
        </p:nvCxnSpPr>
        <p:spPr>
          <a:xfrm flipH="1" flipV="1">
            <a:off x="4968535" y="1726658"/>
            <a:ext cx="2350471" cy="2444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A75E3F1D-5F42-6BC3-3304-5E3C2E59F658}"/>
              </a:ext>
            </a:extLst>
          </p:cNvPr>
          <p:cNvCxnSpPr/>
          <p:nvPr/>
        </p:nvCxnSpPr>
        <p:spPr>
          <a:xfrm flipH="1" flipV="1">
            <a:off x="4574880" y="2851667"/>
            <a:ext cx="2350471" cy="2444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D9ED7CEF-A0C1-D298-A7F2-E5784669A9A2}"/>
              </a:ext>
            </a:extLst>
          </p:cNvPr>
          <p:cNvCxnSpPr/>
          <p:nvPr/>
        </p:nvCxnSpPr>
        <p:spPr>
          <a:xfrm flipH="1" flipV="1">
            <a:off x="4154412" y="3935399"/>
            <a:ext cx="2350471" cy="2444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F904CE2C-C35A-1E53-3008-A8799065E929}"/>
              </a:ext>
            </a:extLst>
          </p:cNvPr>
          <p:cNvCxnSpPr/>
          <p:nvPr/>
        </p:nvCxnSpPr>
        <p:spPr>
          <a:xfrm flipH="1" flipV="1">
            <a:off x="3678385" y="5000326"/>
            <a:ext cx="2350471" cy="2444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Inhaltsplatzhalter 4">
            <a:extLst>
              <a:ext uri="{FF2B5EF4-FFF2-40B4-BE49-F238E27FC236}">
                <a16:creationId xmlns:a16="http://schemas.microsoft.com/office/drawing/2014/main" id="{BD10C423-DA84-9777-7FCA-0F38742E9832}"/>
              </a:ext>
            </a:extLst>
          </p:cNvPr>
          <p:cNvSpPr txBox="1">
            <a:spLocks/>
          </p:cNvSpPr>
          <p:nvPr/>
        </p:nvSpPr>
        <p:spPr>
          <a:xfrm>
            <a:off x="7122947" y="3827216"/>
            <a:ext cx="377633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7" name="Inhaltsplatzhalter 4">
            <a:extLst>
              <a:ext uri="{FF2B5EF4-FFF2-40B4-BE49-F238E27FC236}">
                <a16:creationId xmlns:a16="http://schemas.microsoft.com/office/drawing/2014/main" id="{7C6FE922-1B5D-045D-8DAF-93B16491F00D}"/>
              </a:ext>
            </a:extLst>
          </p:cNvPr>
          <p:cNvSpPr txBox="1">
            <a:spLocks/>
          </p:cNvSpPr>
          <p:nvPr/>
        </p:nvSpPr>
        <p:spPr>
          <a:xfrm flipH="1">
            <a:off x="7536872" y="1740898"/>
            <a:ext cx="381692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8" name="Inhaltsplatzhalter 4">
            <a:extLst>
              <a:ext uri="{FF2B5EF4-FFF2-40B4-BE49-F238E27FC236}">
                <a16:creationId xmlns:a16="http://schemas.microsoft.com/office/drawing/2014/main" id="{7A4A5C59-CC43-9C64-1609-55F2B548D8C7}"/>
              </a:ext>
            </a:extLst>
          </p:cNvPr>
          <p:cNvSpPr txBox="1">
            <a:spLocks/>
          </p:cNvSpPr>
          <p:nvPr/>
        </p:nvSpPr>
        <p:spPr>
          <a:xfrm flipH="1">
            <a:off x="7356983" y="2784057"/>
            <a:ext cx="3840061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3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9" name="Inhaltsplatzhalter 4">
            <a:extLst>
              <a:ext uri="{FF2B5EF4-FFF2-40B4-BE49-F238E27FC236}">
                <a16:creationId xmlns:a16="http://schemas.microsoft.com/office/drawing/2014/main" id="{51886B27-6035-68C7-8C71-07AE0D80FBE8}"/>
              </a:ext>
            </a:extLst>
          </p:cNvPr>
          <p:cNvSpPr txBox="1">
            <a:spLocks/>
          </p:cNvSpPr>
          <p:nvPr/>
        </p:nvSpPr>
        <p:spPr>
          <a:xfrm>
            <a:off x="6915784" y="4870376"/>
            <a:ext cx="377633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50417CCC-7DBB-CA4B-6D0F-6E23DD0E18D6}"/>
              </a:ext>
            </a:extLst>
          </p:cNvPr>
          <p:cNvGrpSpPr>
            <a:grpSpLocks noChangeAspect="1"/>
          </p:cNvGrpSpPr>
          <p:nvPr/>
        </p:nvGrpSpPr>
        <p:grpSpPr>
          <a:xfrm>
            <a:off x="2579157" y="3299831"/>
            <a:ext cx="385069" cy="366530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108" name="Freeform 23">
              <a:extLst>
                <a:ext uri="{FF2B5EF4-FFF2-40B4-BE49-F238E27FC236}">
                  <a16:creationId xmlns:a16="http://schemas.microsoft.com/office/drawing/2014/main" id="{383D3C6D-A224-793C-3F8E-2D8FB75774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09" name="Freeform 24">
              <a:extLst>
                <a:ext uri="{FF2B5EF4-FFF2-40B4-BE49-F238E27FC236}">
                  <a16:creationId xmlns:a16="http://schemas.microsoft.com/office/drawing/2014/main" id="{AAE9A40C-AD9C-E739-5016-E7AC097C75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0" name="Freeform 25">
              <a:extLst>
                <a:ext uri="{FF2B5EF4-FFF2-40B4-BE49-F238E27FC236}">
                  <a16:creationId xmlns:a16="http://schemas.microsoft.com/office/drawing/2014/main" id="{51269BCF-94A0-950B-B25C-D46378F023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1" name="Freeform 26">
              <a:extLst>
                <a:ext uri="{FF2B5EF4-FFF2-40B4-BE49-F238E27FC236}">
                  <a16:creationId xmlns:a16="http://schemas.microsoft.com/office/drawing/2014/main" id="{01B8E973-668A-B02A-A96A-9C067ACAB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2" name="Freeform 27">
              <a:extLst>
                <a:ext uri="{FF2B5EF4-FFF2-40B4-BE49-F238E27FC236}">
                  <a16:creationId xmlns:a16="http://schemas.microsoft.com/office/drawing/2014/main" id="{F54BE3B5-D137-B761-5EC8-6442CEC73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3" name="Freeform 28">
              <a:extLst>
                <a:ext uri="{FF2B5EF4-FFF2-40B4-BE49-F238E27FC236}">
                  <a16:creationId xmlns:a16="http://schemas.microsoft.com/office/drawing/2014/main" id="{BE6CB95B-D253-01EE-7BBC-E6322D1C7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</p:grpSp>
      <p:sp>
        <p:nvSpPr>
          <p:cNvPr id="101" name="Freeform 29">
            <a:extLst>
              <a:ext uri="{FF2B5EF4-FFF2-40B4-BE49-F238E27FC236}">
                <a16:creationId xmlns:a16="http://schemas.microsoft.com/office/drawing/2014/main" id="{94BC05D4-35F0-5F41-5A2F-45B874B23F27}"/>
              </a:ext>
            </a:extLst>
          </p:cNvPr>
          <p:cNvSpPr>
            <a:spLocks noChangeAspect="1" noEditPoints="1"/>
          </p:cNvSpPr>
          <p:nvPr/>
        </p:nvSpPr>
        <p:spPr bwMode="auto">
          <a:xfrm rot="2700000">
            <a:off x="2656404" y="4180985"/>
            <a:ext cx="230575" cy="424531"/>
          </a:xfrm>
          <a:custGeom>
            <a:avLst/>
            <a:gdLst>
              <a:gd name="T0" fmla="*/ 482 w 579"/>
              <a:gd name="T1" fmla="*/ 367 h 1073"/>
              <a:gd name="T2" fmla="*/ 482 w 579"/>
              <a:gd name="T3" fmla="*/ 148 h 1073"/>
              <a:gd name="T4" fmla="*/ 525 w 579"/>
              <a:gd name="T5" fmla="*/ 79 h 1073"/>
              <a:gd name="T6" fmla="*/ 447 w 579"/>
              <a:gd name="T7" fmla="*/ 0 h 1073"/>
              <a:gd name="T8" fmla="*/ 132 w 579"/>
              <a:gd name="T9" fmla="*/ 0 h 1073"/>
              <a:gd name="T10" fmla="*/ 54 w 579"/>
              <a:gd name="T11" fmla="*/ 79 h 1073"/>
              <a:gd name="T12" fmla="*/ 96 w 579"/>
              <a:gd name="T13" fmla="*/ 148 h 1073"/>
              <a:gd name="T14" fmla="*/ 96 w 579"/>
              <a:gd name="T15" fmla="*/ 367 h 1073"/>
              <a:gd name="T16" fmla="*/ 0 w 579"/>
              <a:gd name="T17" fmla="*/ 583 h 1073"/>
              <a:gd name="T18" fmla="*/ 0 w 579"/>
              <a:gd name="T19" fmla="*/ 612 h 1073"/>
              <a:gd name="T20" fmla="*/ 224 w 579"/>
              <a:gd name="T21" fmla="*/ 612 h 1073"/>
              <a:gd name="T22" fmla="*/ 224 w 579"/>
              <a:gd name="T23" fmla="*/ 923 h 1073"/>
              <a:gd name="T24" fmla="*/ 289 w 579"/>
              <a:gd name="T25" fmla="*/ 1073 h 1073"/>
              <a:gd name="T26" fmla="*/ 355 w 579"/>
              <a:gd name="T27" fmla="*/ 923 h 1073"/>
              <a:gd name="T28" fmla="*/ 355 w 579"/>
              <a:gd name="T29" fmla="*/ 612 h 1073"/>
              <a:gd name="T30" fmla="*/ 579 w 579"/>
              <a:gd name="T31" fmla="*/ 612 h 1073"/>
              <a:gd name="T32" fmla="*/ 579 w 579"/>
              <a:gd name="T33" fmla="*/ 583 h 1073"/>
              <a:gd name="T34" fmla="*/ 482 w 579"/>
              <a:gd name="T35" fmla="*/ 367 h 1073"/>
              <a:gd name="T36" fmla="*/ 132 w 579"/>
              <a:gd name="T37" fmla="*/ 58 h 1073"/>
              <a:gd name="T38" fmla="*/ 447 w 579"/>
              <a:gd name="T39" fmla="*/ 58 h 1073"/>
              <a:gd name="T40" fmla="*/ 467 w 579"/>
              <a:gd name="T41" fmla="*/ 79 h 1073"/>
              <a:gd name="T42" fmla="*/ 449 w 579"/>
              <a:gd name="T43" fmla="*/ 99 h 1073"/>
              <a:gd name="T44" fmla="*/ 436 w 579"/>
              <a:gd name="T45" fmla="*/ 101 h 1073"/>
              <a:gd name="T46" fmla="*/ 143 w 579"/>
              <a:gd name="T47" fmla="*/ 101 h 1073"/>
              <a:gd name="T48" fmla="*/ 129 w 579"/>
              <a:gd name="T49" fmla="*/ 99 h 1073"/>
              <a:gd name="T50" fmla="*/ 111 w 579"/>
              <a:gd name="T51" fmla="*/ 79 h 1073"/>
              <a:gd name="T52" fmla="*/ 132 w 579"/>
              <a:gd name="T53" fmla="*/ 58 h 1073"/>
              <a:gd name="T54" fmla="*/ 424 w 579"/>
              <a:gd name="T55" fmla="*/ 370 h 1073"/>
              <a:gd name="T56" fmla="*/ 154 w 579"/>
              <a:gd name="T57" fmla="*/ 370 h 1073"/>
              <a:gd name="T58" fmla="*/ 154 w 579"/>
              <a:gd name="T59" fmla="*/ 130 h 1073"/>
              <a:gd name="T60" fmla="*/ 424 w 579"/>
              <a:gd name="T61" fmla="*/ 130 h 1073"/>
              <a:gd name="T62" fmla="*/ 424 w 579"/>
              <a:gd name="T63" fmla="*/ 370 h 1073"/>
              <a:gd name="T64" fmla="*/ 297 w 579"/>
              <a:gd name="T65" fmla="*/ 911 h 1073"/>
              <a:gd name="T66" fmla="*/ 289 w 579"/>
              <a:gd name="T67" fmla="*/ 928 h 1073"/>
              <a:gd name="T68" fmla="*/ 282 w 579"/>
              <a:gd name="T69" fmla="*/ 911 h 1073"/>
              <a:gd name="T70" fmla="*/ 282 w 579"/>
              <a:gd name="T71" fmla="*/ 612 h 1073"/>
              <a:gd name="T72" fmla="*/ 297 w 579"/>
              <a:gd name="T73" fmla="*/ 612 h 1073"/>
              <a:gd name="T74" fmla="*/ 297 w 579"/>
              <a:gd name="T75" fmla="*/ 911 h 1073"/>
              <a:gd name="T76" fmla="*/ 355 w 579"/>
              <a:gd name="T77" fmla="*/ 554 h 1073"/>
              <a:gd name="T78" fmla="*/ 224 w 579"/>
              <a:gd name="T79" fmla="*/ 554 h 1073"/>
              <a:gd name="T80" fmla="*/ 59 w 579"/>
              <a:gd name="T81" fmla="*/ 554 h 1073"/>
              <a:gd name="T82" fmla="*/ 144 w 579"/>
              <a:gd name="T83" fmla="*/ 403 h 1073"/>
              <a:gd name="T84" fmla="*/ 149 w 579"/>
              <a:gd name="T85" fmla="*/ 399 h 1073"/>
              <a:gd name="T86" fmla="*/ 430 w 579"/>
              <a:gd name="T87" fmla="*/ 399 h 1073"/>
              <a:gd name="T88" fmla="*/ 435 w 579"/>
              <a:gd name="T89" fmla="*/ 403 h 1073"/>
              <a:gd name="T90" fmla="*/ 519 w 579"/>
              <a:gd name="T91" fmla="*/ 554 h 1073"/>
              <a:gd name="T92" fmla="*/ 355 w 579"/>
              <a:gd name="T93" fmla="*/ 554 h 1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9" h="1073">
                <a:moveTo>
                  <a:pt x="482" y="367"/>
                </a:moveTo>
                <a:cubicBezTo>
                  <a:pt x="482" y="148"/>
                  <a:pt x="482" y="148"/>
                  <a:pt x="482" y="148"/>
                </a:cubicBezTo>
                <a:cubicBezTo>
                  <a:pt x="508" y="135"/>
                  <a:pt x="525" y="109"/>
                  <a:pt x="525" y="79"/>
                </a:cubicBezTo>
                <a:cubicBezTo>
                  <a:pt x="525" y="35"/>
                  <a:pt x="490" y="0"/>
                  <a:pt x="447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89" y="0"/>
                  <a:pt x="54" y="35"/>
                  <a:pt x="54" y="79"/>
                </a:cubicBezTo>
                <a:cubicBezTo>
                  <a:pt x="54" y="109"/>
                  <a:pt x="71" y="135"/>
                  <a:pt x="96" y="148"/>
                </a:cubicBezTo>
                <a:cubicBezTo>
                  <a:pt x="96" y="367"/>
                  <a:pt x="96" y="367"/>
                  <a:pt x="96" y="367"/>
                </a:cubicBezTo>
                <a:cubicBezTo>
                  <a:pt x="35" y="422"/>
                  <a:pt x="0" y="500"/>
                  <a:pt x="0" y="583"/>
                </a:cubicBezTo>
                <a:cubicBezTo>
                  <a:pt x="0" y="612"/>
                  <a:pt x="0" y="612"/>
                  <a:pt x="0" y="612"/>
                </a:cubicBezTo>
                <a:cubicBezTo>
                  <a:pt x="224" y="612"/>
                  <a:pt x="224" y="612"/>
                  <a:pt x="224" y="612"/>
                </a:cubicBezTo>
                <a:cubicBezTo>
                  <a:pt x="224" y="923"/>
                  <a:pt x="224" y="923"/>
                  <a:pt x="224" y="923"/>
                </a:cubicBezTo>
                <a:cubicBezTo>
                  <a:pt x="289" y="1073"/>
                  <a:pt x="289" y="1073"/>
                  <a:pt x="289" y="1073"/>
                </a:cubicBezTo>
                <a:cubicBezTo>
                  <a:pt x="355" y="923"/>
                  <a:pt x="355" y="923"/>
                  <a:pt x="355" y="923"/>
                </a:cubicBezTo>
                <a:cubicBezTo>
                  <a:pt x="355" y="612"/>
                  <a:pt x="355" y="612"/>
                  <a:pt x="355" y="612"/>
                </a:cubicBezTo>
                <a:cubicBezTo>
                  <a:pt x="579" y="612"/>
                  <a:pt x="579" y="612"/>
                  <a:pt x="579" y="612"/>
                </a:cubicBezTo>
                <a:cubicBezTo>
                  <a:pt x="579" y="583"/>
                  <a:pt x="579" y="583"/>
                  <a:pt x="579" y="583"/>
                </a:cubicBezTo>
                <a:cubicBezTo>
                  <a:pt x="579" y="500"/>
                  <a:pt x="544" y="422"/>
                  <a:pt x="482" y="367"/>
                </a:cubicBezTo>
                <a:close/>
                <a:moveTo>
                  <a:pt x="132" y="58"/>
                </a:moveTo>
                <a:cubicBezTo>
                  <a:pt x="447" y="58"/>
                  <a:pt x="447" y="58"/>
                  <a:pt x="447" y="58"/>
                </a:cubicBezTo>
                <a:cubicBezTo>
                  <a:pt x="458" y="58"/>
                  <a:pt x="467" y="67"/>
                  <a:pt x="467" y="79"/>
                </a:cubicBezTo>
                <a:cubicBezTo>
                  <a:pt x="467" y="89"/>
                  <a:pt x="459" y="97"/>
                  <a:pt x="449" y="99"/>
                </a:cubicBezTo>
                <a:cubicBezTo>
                  <a:pt x="436" y="101"/>
                  <a:pt x="436" y="101"/>
                  <a:pt x="436" y="101"/>
                </a:cubicBezTo>
                <a:cubicBezTo>
                  <a:pt x="143" y="101"/>
                  <a:pt x="143" y="101"/>
                  <a:pt x="143" y="101"/>
                </a:cubicBezTo>
                <a:cubicBezTo>
                  <a:pt x="129" y="99"/>
                  <a:pt x="129" y="99"/>
                  <a:pt x="129" y="99"/>
                </a:cubicBezTo>
                <a:cubicBezTo>
                  <a:pt x="119" y="97"/>
                  <a:pt x="111" y="89"/>
                  <a:pt x="111" y="79"/>
                </a:cubicBezTo>
                <a:cubicBezTo>
                  <a:pt x="111" y="67"/>
                  <a:pt x="121" y="58"/>
                  <a:pt x="132" y="58"/>
                </a:cubicBezTo>
                <a:close/>
                <a:moveTo>
                  <a:pt x="424" y="370"/>
                </a:moveTo>
                <a:cubicBezTo>
                  <a:pt x="154" y="370"/>
                  <a:pt x="154" y="370"/>
                  <a:pt x="154" y="370"/>
                </a:cubicBezTo>
                <a:cubicBezTo>
                  <a:pt x="154" y="130"/>
                  <a:pt x="154" y="130"/>
                  <a:pt x="154" y="130"/>
                </a:cubicBezTo>
                <a:cubicBezTo>
                  <a:pt x="424" y="130"/>
                  <a:pt x="424" y="130"/>
                  <a:pt x="424" y="130"/>
                </a:cubicBezTo>
                <a:lnTo>
                  <a:pt x="424" y="370"/>
                </a:lnTo>
                <a:close/>
                <a:moveTo>
                  <a:pt x="297" y="911"/>
                </a:moveTo>
                <a:cubicBezTo>
                  <a:pt x="289" y="928"/>
                  <a:pt x="289" y="928"/>
                  <a:pt x="289" y="928"/>
                </a:cubicBezTo>
                <a:cubicBezTo>
                  <a:pt x="282" y="911"/>
                  <a:pt x="282" y="911"/>
                  <a:pt x="282" y="911"/>
                </a:cubicBezTo>
                <a:cubicBezTo>
                  <a:pt x="282" y="612"/>
                  <a:pt x="282" y="612"/>
                  <a:pt x="282" y="612"/>
                </a:cubicBezTo>
                <a:cubicBezTo>
                  <a:pt x="297" y="612"/>
                  <a:pt x="297" y="612"/>
                  <a:pt x="297" y="612"/>
                </a:cubicBezTo>
                <a:lnTo>
                  <a:pt x="297" y="911"/>
                </a:lnTo>
                <a:close/>
                <a:moveTo>
                  <a:pt x="355" y="554"/>
                </a:moveTo>
                <a:cubicBezTo>
                  <a:pt x="224" y="554"/>
                  <a:pt x="224" y="554"/>
                  <a:pt x="224" y="554"/>
                </a:cubicBezTo>
                <a:cubicBezTo>
                  <a:pt x="59" y="554"/>
                  <a:pt x="59" y="554"/>
                  <a:pt x="59" y="554"/>
                </a:cubicBezTo>
                <a:cubicBezTo>
                  <a:pt x="67" y="495"/>
                  <a:pt x="97" y="441"/>
                  <a:pt x="144" y="403"/>
                </a:cubicBezTo>
                <a:cubicBezTo>
                  <a:pt x="149" y="399"/>
                  <a:pt x="149" y="399"/>
                  <a:pt x="149" y="399"/>
                </a:cubicBezTo>
                <a:cubicBezTo>
                  <a:pt x="430" y="399"/>
                  <a:pt x="430" y="399"/>
                  <a:pt x="430" y="399"/>
                </a:cubicBezTo>
                <a:cubicBezTo>
                  <a:pt x="435" y="403"/>
                  <a:pt x="435" y="403"/>
                  <a:pt x="435" y="403"/>
                </a:cubicBezTo>
                <a:cubicBezTo>
                  <a:pt x="482" y="441"/>
                  <a:pt x="512" y="495"/>
                  <a:pt x="519" y="554"/>
                </a:cubicBezTo>
                <a:lnTo>
                  <a:pt x="355" y="5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endParaRPr lang="id-ID" sz="840" dirty="0">
              <a:solidFill>
                <a:schemeClr val="tx2"/>
              </a:solidFill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7A8E5782-88E7-1403-74C1-81BFA7D23F02}"/>
              </a:ext>
            </a:extLst>
          </p:cNvPr>
          <p:cNvGrpSpPr>
            <a:grpSpLocks noChangeAspect="1"/>
          </p:cNvGrpSpPr>
          <p:nvPr/>
        </p:nvGrpSpPr>
        <p:grpSpPr>
          <a:xfrm>
            <a:off x="2591578" y="2024845"/>
            <a:ext cx="360226" cy="574904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06" name="Freeform 31">
              <a:extLst>
                <a:ext uri="{FF2B5EF4-FFF2-40B4-BE49-F238E27FC236}">
                  <a16:creationId xmlns:a16="http://schemas.microsoft.com/office/drawing/2014/main" id="{768B672A-6F6B-D707-56CC-EC83C359D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107" name="Freeform 32">
              <a:extLst>
                <a:ext uri="{FF2B5EF4-FFF2-40B4-BE49-F238E27FC236}">
                  <a16:creationId xmlns:a16="http://schemas.microsoft.com/office/drawing/2014/main" id="{0815EE8D-6743-9B9B-CB2E-9CB27357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A153438-F5E7-D373-A9AC-A975DA400FB3}"/>
              </a:ext>
            </a:extLst>
          </p:cNvPr>
          <p:cNvGrpSpPr/>
          <p:nvPr/>
        </p:nvGrpSpPr>
        <p:grpSpPr>
          <a:xfrm>
            <a:off x="2608637" y="5131994"/>
            <a:ext cx="326108" cy="312620"/>
            <a:chOff x="8783638" y="1235076"/>
            <a:chExt cx="360363" cy="312738"/>
          </a:xfrm>
          <a:solidFill>
            <a:schemeClr val="bg1"/>
          </a:solidFill>
        </p:grpSpPr>
        <p:sp>
          <p:nvSpPr>
            <p:cNvPr id="104" name="Freeform 51">
              <a:extLst>
                <a:ext uri="{FF2B5EF4-FFF2-40B4-BE49-F238E27FC236}">
                  <a16:creationId xmlns:a16="http://schemas.microsoft.com/office/drawing/2014/main" id="{0527FB30-DDB1-50AB-E5A7-7494C97DE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42375" y="1290638"/>
              <a:ext cx="128588" cy="8413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27"/>
                </a:cxn>
                <a:cxn ang="0">
                  <a:pos x="1" y="29"/>
                </a:cxn>
                <a:cxn ang="0">
                  <a:pos x="3" y="27"/>
                </a:cxn>
                <a:cxn ang="0">
                  <a:pos x="42" y="4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42" y="0"/>
                </a:cxn>
              </a:cxnLst>
              <a:rect l="0" t="0" r="r" b="b"/>
              <a:pathLst>
                <a:path w="44" h="29">
                  <a:moveTo>
                    <a:pt x="42" y="0"/>
                  </a:moveTo>
                  <a:cubicBezTo>
                    <a:pt x="19" y="0"/>
                    <a:pt x="0" y="12"/>
                    <a:pt x="0" y="27"/>
                  </a:cubicBezTo>
                  <a:cubicBezTo>
                    <a:pt x="0" y="28"/>
                    <a:pt x="0" y="29"/>
                    <a:pt x="1" y="29"/>
                  </a:cubicBezTo>
                  <a:cubicBezTo>
                    <a:pt x="3" y="29"/>
                    <a:pt x="3" y="28"/>
                    <a:pt x="3" y="27"/>
                  </a:cubicBezTo>
                  <a:cubicBezTo>
                    <a:pt x="3" y="15"/>
                    <a:pt x="21" y="4"/>
                    <a:pt x="42" y="4"/>
                  </a:cubicBezTo>
                  <a:cubicBezTo>
                    <a:pt x="43" y="4"/>
                    <a:pt x="44" y="3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52">
              <a:extLst>
                <a:ext uri="{FF2B5EF4-FFF2-40B4-BE49-F238E27FC236}">
                  <a16:creationId xmlns:a16="http://schemas.microsoft.com/office/drawing/2014/main" id="{91B83382-A9F1-3C0E-B01F-31B13A95F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83638" y="1235076"/>
              <a:ext cx="360363" cy="312738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46"/>
                </a:cxn>
                <a:cxn ang="0">
                  <a:pos x="27" y="84"/>
                </a:cxn>
                <a:cxn ang="0">
                  <a:pos x="27" y="84"/>
                </a:cxn>
                <a:cxn ang="0">
                  <a:pos x="20" y="102"/>
                </a:cxn>
                <a:cxn ang="0">
                  <a:pos x="20" y="104"/>
                </a:cxn>
                <a:cxn ang="0">
                  <a:pos x="23" y="107"/>
                </a:cxn>
                <a:cxn ang="0">
                  <a:pos x="24" y="107"/>
                </a:cxn>
                <a:cxn ang="0">
                  <a:pos x="50" y="91"/>
                </a:cxn>
                <a:cxn ang="0">
                  <a:pos x="62" y="92"/>
                </a:cxn>
                <a:cxn ang="0">
                  <a:pos x="123" y="46"/>
                </a:cxn>
                <a:cxn ang="0">
                  <a:pos x="62" y="0"/>
                </a:cxn>
                <a:cxn ang="0">
                  <a:pos x="62" y="84"/>
                </a:cxn>
                <a:cxn ang="0">
                  <a:pos x="51" y="83"/>
                </a:cxn>
                <a:cxn ang="0">
                  <a:pos x="50" y="83"/>
                </a:cxn>
                <a:cxn ang="0">
                  <a:pos x="44" y="86"/>
                </a:cxn>
                <a:cxn ang="0">
                  <a:pos x="32" y="96"/>
                </a:cxn>
                <a:cxn ang="0">
                  <a:pos x="35" y="85"/>
                </a:cxn>
                <a:cxn ang="0">
                  <a:pos x="35" y="84"/>
                </a:cxn>
                <a:cxn ang="0">
                  <a:pos x="31" y="77"/>
                </a:cxn>
                <a:cxn ang="0">
                  <a:pos x="8" y="46"/>
                </a:cxn>
                <a:cxn ang="0">
                  <a:pos x="62" y="7"/>
                </a:cxn>
                <a:cxn ang="0">
                  <a:pos x="115" y="46"/>
                </a:cxn>
                <a:cxn ang="0">
                  <a:pos x="62" y="84"/>
                </a:cxn>
                <a:cxn ang="0">
                  <a:pos x="62" y="84"/>
                </a:cxn>
                <a:cxn ang="0">
                  <a:pos x="62" y="84"/>
                </a:cxn>
              </a:cxnLst>
              <a:rect l="0" t="0" r="r" b="b"/>
              <a:pathLst>
                <a:path w="123" h="107">
                  <a:moveTo>
                    <a:pt x="62" y="0"/>
                  </a:moveTo>
                  <a:cubicBezTo>
                    <a:pt x="28" y="0"/>
                    <a:pt x="0" y="20"/>
                    <a:pt x="0" y="46"/>
                  </a:cubicBezTo>
                  <a:cubicBezTo>
                    <a:pt x="0" y="62"/>
                    <a:pt x="11" y="76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91"/>
                    <a:pt x="22" y="98"/>
                    <a:pt x="20" y="102"/>
                  </a:cubicBezTo>
                  <a:cubicBezTo>
                    <a:pt x="20" y="103"/>
                    <a:pt x="20" y="103"/>
                    <a:pt x="20" y="104"/>
                  </a:cubicBezTo>
                  <a:cubicBezTo>
                    <a:pt x="20" y="106"/>
                    <a:pt x="21" y="107"/>
                    <a:pt x="23" y="107"/>
                  </a:cubicBezTo>
                  <a:cubicBezTo>
                    <a:pt x="23" y="107"/>
                    <a:pt x="24" y="107"/>
                    <a:pt x="24" y="107"/>
                  </a:cubicBezTo>
                  <a:cubicBezTo>
                    <a:pt x="36" y="105"/>
                    <a:pt x="47" y="94"/>
                    <a:pt x="50" y="91"/>
                  </a:cubicBezTo>
                  <a:cubicBezTo>
                    <a:pt x="54" y="92"/>
                    <a:pt x="58" y="92"/>
                    <a:pt x="62" y="92"/>
                  </a:cubicBezTo>
                  <a:cubicBezTo>
                    <a:pt x="96" y="92"/>
                    <a:pt x="123" y="71"/>
                    <a:pt x="123" y="46"/>
                  </a:cubicBezTo>
                  <a:cubicBezTo>
                    <a:pt x="123" y="20"/>
                    <a:pt x="96" y="0"/>
                    <a:pt x="62" y="0"/>
                  </a:cubicBezTo>
                  <a:close/>
                  <a:moveTo>
                    <a:pt x="62" y="84"/>
                  </a:moveTo>
                  <a:cubicBezTo>
                    <a:pt x="58" y="84"/>
                    <a:pt x="55" y="84"/>
                    <a:pt x="51" y="83"/>
                  </a:cubicBezTo>
                  <a:cubicBezTo>
                    <a:pt x="51" y="83"/>
                    <a:pt x="50" y="83"/>
                    <a:pt x="50" y="83"/>
                  </a:cubicBezTo>
                  <a:cubicBezTo>
                    <a:pt x="48" y="83"/>
                    <a:pt x="45" y="84"/>
                    <a:pt x="44" y="86"/>
                  </a:cubicBezTo>
                  <a:cubicBezTo>
                    <a:pt x="42" y="88"/>
                    <a:pt x="38" y="93"/>
                    <a:pt x="32" y="96"/>
                  </a:cubicBezTo>
                  <a:cubicBezTo>
                    <a:pt x="34" y="92"/>
                    <a:pt x="35" y="89"/>
                    <a:pt x="35" y="85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1"/>
                    <a:pt x="33" y="78"/>
                    <a:pt x="31" y="77"/>
                  </a:cubicBezTo>
                  <a:cubicBezTo>
                    <a:pt x="17" y="70"/>
                    <a:pt x="8" y="58"/>
                    <a:pt x="8" y="46"/>
                  </a:cubicBezTo>
                  <a:cubicBezTo>
                    <a:pt x="8" y="25"/>
                    <a:pt x="32" y="7"/>
                    <a:pt x="62" y="7"/>
                  </a:cubicBezTo>
                  <a:cubicBezTo>
                    <a:pt x="91" y="7"/>
                    <a:pt x="115" y="25"/>
                    <a:pt x="115" y="46"/>
                  </a:cubicBezTo>
                  <a:cubicBezTo>
                    <a:pt x="115" y="67"/>
                    <a:pt x="91" y="84"/>
                    <a:pt x="62" y="84"/>
                  </a:cubicBezTo>
                  <a:close/>
                  <a:moveTo>
                    <a:pt x="62" y="84"/>
                  </a:moveTo>
                  <a:cubicBezTo>
                    <a:pt x="62" y="84"/>
                    <a:pt x="62" y="84"/>
                    <a:pt x="62" y="8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1022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1</TotalTime>
  <Words>106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Funn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30</cp:revision>
  <dcterms:created xsi:type="dcterms:W3CDTF">2021-03-31T02:49:57Z</dcterms:created>
  <dcterms:modified xsi:type="dcterms:W3CDTF">2025-10-16T11:36:45Z</dcterms:modified>
  <cp:category/>
</cp:coreProperties>
</file>